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595" r:id="rId2"/>
    <p:sldId id="630" r:id="rId3"/>
    <p:sldId id="631" r:id="rId4"/>
    <p:sldId id="633" r:id="rId5"/>
    <p:sldId id="632" r:id="rId6"/>
    <p:sldId id="634" r:id="rId7"/>
    <p:sldId id="640" r:id="rId8"/>
    <p:sldId id="616" r:id="rId9"/>
    <p:sldId id="611" r:id="rId10"/>
    <p:sldId id="613" r:id="rId11"/>
    <p:sldId id="614" r:id="rId12"/>
    <p:sldId id="621" r:id="rId13"/>
    <p:sldId id="618" r:id="rId14"/>
    <p:sldId id="622" r:id="rId15"/>
    <p:sldId id="619" r:id="rId16"/>
    <p:sldId id="617" r:id="rId17"/>
    <p:sldId id="624" r:id="rId18"/>
    <p:sldId id="612" r:id="rId19"/>
    <p:sldId id="615" r:id="rId20"/>
    <p:sldId id="625" r:id="rId21"/>
    <p:sldId id="626" r:id="rId22"/>
    <p:sldId id="641" r:id="rId23"/>
    <p:sldId id="628" r:id="rId24"/>
    <p:sldId id="627" r:id="rId25"/>
    <p:sldId id="629" r:id="rId26"/>
    <p:sldId id="635" r:id="rId27"/>
    <p:sldId id="636" r:id="rId28"/>
    <p:sldId id="637" r:id="rId29"/>
    <p:sldId id="638" r:id="rId30"/>
    <p:sldId id="639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30"/>
            <p14:sldId id="631"/>
            <p14:sldId id="633"/>
            <p14:sldId id="632"/>
            <p14:sldId id="634"/>
            <p14:sldId id="640"/>
            <p14:sldId id="616"/>
            <p14:sldId id="611"/>
            <p14:sldId id="613"/>
            <p14:sldId id="614"/>
            <p14:sldId id="621"/>
            <p14:sldId id="618"/>
            <p14:sldId id="622"/>
            <p14:sldId id="619"/>
            <p14:sldId id="617"/>
            <p14:sldId id="624"/>
            <p14:sldId id="612"/>
            <p14:sldId id="615"/>
            <p14:sldId id="625"/>
            <p14:sldId id="626"/>
            <p14:sldId id="641"/>
            <p14:sldId id="628"/>
            <p14:sldId id="627"/>
            <p14:sldId id="629"/>
            <p14:sldId id="635"/>
            <p14:sldId id="636"/>
            <p14:sldId id="637"/>
            <p14:sldId id="638"/>
            <p14:sldId id="6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88" autoAdjust="0"/>
    <p:restoredTop sz="92840" autoAdjust="0"/>
  </p:normalViewPr>
  <p:slideViewPr>
    <p:cSldViewPr>
      <p:cViewPr varScale="1">
        <p:scale>
          <a:sx n="71" d="100"/>
          <a:sy n="71" d="100"/>
        </p:scale>
        <p:origin x="388" y="36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A055AC-5E50-6ED7-7782-D0C39B002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latin typeface="Abadi Extra Light" panose="020B0204020104020204" pitchFamily="34" charset="0"/>
              </a:rPr>
              <a:t>interface</a:t>
            </a:r>
            <a:r>
              <a:rPr lang="en-US" dirty="0"/>
              <a:t> Construc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6AF4D6D-1E48-825B-CD12-64EBDB5B75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846776" cy="4906960"/>
          </a:xfrm>
        </p:spPr>
        <p:txBody>
          <a:bodyPr/>
          <a:lstStyle/>
          <a:p>
            <a:r>
              <a:rPr lang="en-US" dirty="0"/>
              <a:t>Designs have become complicated, and communication between blocks needs to be separated into entities</a:t>
            </a:r>
          </a:p>
          <a:p>
            <a:r>
              <a:rPr lang="en-US" dirty="0"/>
              <a:t>An </a:t>
            </a: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interface</a:t>
            </a:r>
            <a:r>
              <a:rPr lang="en-US" dirty="0"/>
              <a:t> is a mechanism to connect the testbench to the DUT</a:t>
            </a:r>
          </a:p>
          <a:p>
            <a:r>
              <a:rPr lang="en-US" dirty="0"/>
              <a:t>It is an intelligent bundle of wires that can be passed just like a port in a port list	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EB17A1-39A1-6A3B-4926-A569B925E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1515B5-8709-9D9D-9FEF-D4AC65212FF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C55847-1088-4B58-A706-95EA16EF899A}"/>
              </a:ext>
            </a:extLst>
          </p:cNvPr>
          <p:cNvGrpSpPr/>
          <p:nvPr/>
        </p:nvGrpSpPr>
        <p:grpSpPr>
          <a:xfrm>
            <a:off x="3477356" y="3547120"/>
            <a:ext cx="5237287" cy="3049736"/>
            <a:chOff x="6654281" y="2133600"/>
            <a:chExt cx="5237287" cy="304973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90397F6-D3B1-C243-61BA-02123A997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81800" y="2464843"/>
              <a:ext cx="5109768" cy="2502803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BF6A2B3-AAF5-0197-9C04-81AB5DF68A73}"/>
                </a:ext>
              </a:extLst>
            </p:cNvPr>
            <p:cNvSpPr/>
            <p:nvPr/>
          </p:nvSpPr>
          <p:spPr>
            <a:xfrm>
              <a:off x="6654281" y="2133600"/>
              <a:ext cx="5187463" cy="304973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noFill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903D594B-0424-F0BD-F09E-4AEC273A4C1A}"/>
              </a:ext>
            </a:extLst>
          </p:cNvPr>
          <p:cNvSpPr/>
          <p:nvPr/>
        </p:nvSpPr>
        <p:spPr>
          <a:xfrm>
            <a:off x="7086600" y="4038600"/>
            <a:ext cx="838200" cy="232676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89314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3BC67B-DD2F-469F-6A54-AE6AF8313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8F727B6-B854-677F-5C34-99D7EA5DF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latin typeface="Abadi Extra Light" panose="020B0204020104020204" pitchFamily="34" charset="0"/>
              </a:rPr>
              <a:t>interface</a:t>
            </a:r>
            <a:r>
              <a:rPr lang="en-US" dirty="0"/>
              <a:t> Construc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02D7656-CEFA-A39D-4189-25CA742CFF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846776" cy="4906960"/>
          </a:xfrm>
        </p:spPr>
        <p:txBody>
          <a:bodyPr/>
          <a:lstStyle/>
          <a:p>
            <a:r>
              <a:rPr lang="en-US" dirty="0"/>
              <a:t>The interface encapsulates connectivity/communication between the DUT and the testbench:</a:t>
            </a:r>
          </a:p>
          <a:p>
            <a:pPr lvl="1"/>
            <a:r>
              <a:rPr lang="en-US" sz="2400" dirty="0"/>
              <a:t>Connectivity (signals)</a:t>
            </a:r>
          </a:p>
          <a:p>
            <a:pPr lvl="1"/>
            <a:r>
              <a:rPr lang="en-US" sz="2400" dirty="0"/>
              <a:t>Directional information (</a:t>
            </a:r>
            <a:r>
              <a:rPr lang="en-US" sz="2400" dirty="0" err="1"/>
              <a:t>modports</a:t>
            </a:r>
            <a:r>
              <a:rPr lang="en-US" sz="2400" dirty="0"/>
              <a:t>)</a:t>
            </a:r>
          </a:p>
          <a:p>
            <a:pPr lvl="1"/>
            <a:r>
              <a:rPr lang="en-US" sz="2400" dirty="0"/>
              <a:t>Timing (clocking blocks)</a:t>
            </a:r>
          </a:p>
          <a:p>
            <a:pPr lvl="1"/>
            <a:r>
              <a:rPr lang="en-US" sz="2400" dirty="0"/>
              <a:t>Optionally: Functionality (routines, assertions)</a:t>
            </a:r>
          </a:p>
          <a:p>
            <a:r>
              <a:rPr lang="en-US" dirty="0"/>
              <a:t>Solves multiple problems with traditional connections</a:t>
            </a:r>
          </a:p>
          <a:p>
            <a:pPr lvl="1"/>
            <a:r>
              <a:rPr lang="en-US" sz="2400" dirty="0"/>
              <a:t>Port lists for the connections are compact</a:t>
            </a:r>
          </a:p>
          <a:p>
            <a:pPr lvl="1"/>
            <a:r>
              <a:rPr lang="en-US" sz="2400" dirty="0"/>
              <a:t>Easy to add new connections</a:t>
            </a:r>
          </a:p>
          <a:p>
            <a:pPr lvl="1"/>
            <a:r>
              <a:rPr lang="en-US" sz="2400" dirty="0"/>
              <a:t>Pass DUT connections throughout the testbench </a:t>
            </a:r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C6295C-DCDA-DD00-EF6B-AC85BEF08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1AFC4C-4814-2B37-2C77-2BAFF22D1B2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2E1483E-C8E1-7EC7-6772-02146DA15718}"/>
              </a:ext>
            </a:extLst>
          </p:cNvPr>
          <p:cNvGrpSpPr/>
          <p:nvPr/>
        </p:nvGrpSpPr>
        <p:grpSpPr>
          <a:xfrm>
            <a:off x="7620000" y="2286000"/>
            <a:ext cx="3340252" cy="1019968"/>
            <a:chOff x="7086600" y="2667000"/>
            <a:chExt cx="3340252" cy="101996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EDB4E72-75A6-27E1-7058-145D5BE83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67600" y="2848725"/>
              <a:ext cx="2959252" cy="83824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75A7A19-4461-2838-2C1E-B28207581E99}"/>
                </a:ext>
              </a:extLst>
            </p:cNvPr>
            <p:cNvSpPr/>
            <p:nvPr/>
          </p:nvSpPr>
          <p:spPr>
            <a:xfrm>
              <a:off x="7086600" y="2667000"/>
              <a:ext cx="838200" cy="257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320916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DB9CB-3C96-0E71-603F-1A3592AAB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769CE0-F0A8-9D42-BF3A-FDBD0182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latin typeface="Abadi Extra Light" panose="020B0204020104020204" pitchFamily="34" charset="0"/>
              </a:rPr>
              <a:t>interface</a:t>
            </a:r>
            <a:r>
              <a:rPr lang="en-US" dirty="0"/>
              <a:t> Construct –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B998B-8074-2A8F-F5C0-D0C97BD7DC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CFB149-09FE-F64E-F4AA-6C1894A73F7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852DDC-58A0-1DC1-C433-6F88EE7A0D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634" y="2524357"/>
            <a:ext cx="4580625" cy="13722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3E71BD9-2819-2C41-C4F9-122C88043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739" y="4095470"/>
            <a:ext cx="4580625" cy="20712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9AA6612-DEC8-255D-FFE1-E9773E92CB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9424" y="2421806"/>
            <a:ext cx="3231776" cy="150560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306FF35-E53A-F41E-2C3E-095FFA62F0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9424" y="4090410"/>
            <a:ext cx="3688976" cy="238306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53CA84F-8B84-9D17-3669-F3E641914EF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84" t="9682" r="3010"/>
          <a:stretch/>
        </p:blipFill>
        <p:spPr>
          <a:xfrm>
            <a:off x="3657600" y="1289707"/>
            <a:ext cx="4580625" cy="9501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CC53CD4A-691D-A90A-047F-EB3E3D35907B}"/>
              </a:ext>
            </a:extLst>
          </p:cNvPr>
          <p:cNvSpPr/>
          <p:nvPr/>
        </p:nvSpPr>
        <p:spPr>
          <a:xfrm>
            <a:off x="6781800" y="5220891"/>
            <a:ext cx="1752600" cy="347402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404FA4C-64F6-AD99-1785-9C2CA5A94E81}"/>
              </a:ext>
            </a:extLst>
          </p:cNvPr>
          <p:cNvSpPr/>
          <p:nvPr/>
        </p:nvSpPr>
        <p:spPr>
          <a:xfrm>
            <a:off x="3581400" y="2438704"/>
            <a:ext cx="1953964" cy="456896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8D660EF-CD35-FFD1-A9DD-7D02559DC8D1}"/>
              </a:ext>
            </a:extLst>
          </p:cNvPr>
          <p:cNvSpPr/>
          <p:nvPr/>
        </p:nvSpPr>
        <p:spPr>
          <a:xfrm>
            <a:off x="2133600" y="4167676"/>
            <a:ext cx="1371600" cy="328124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FC6DD26-7A89-BA37-B6EC-CC34E725AF94}"/>
              </a:ext>
            </a:extLst>
          </p:cNvPr>
          <p:cNvSpPr/>
          <p:nvPr/>
        </p:nvSpPr>
        <p:spPr>
          <a:xfrm>
            <a:off x="7543800" y="2438704"/>
            <a:ext cx="1891382" cy="456896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3375195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1C9251-A418-BABA-4474-A5BBCF610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EF78A9-523C-29D7-778B-20B1A7B33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chronous Timing: </a:t>
            </a:r>
            <a:r>
              <a:rPr lang="en-US" dirty="0">
                <a:latin typeface="Abadi Extra Light" panose="020B0204020104020204" pitchFamily="34" charset="0"/>
              </a:rPr>
              <a:t>clocking</a:t>
            </a:r>
            <a:r>
              <a:rPr lang="en-US" dirty="0"/>
              <a:t> Block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C259C5-A662-DA54-746F-7DB56BC2D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562600" cy="4906960"/>
          </a:xfrm>
        </p:spPr>
        <p:txBody>
          <a:bodyPr/>
          <a:lstStyle/>
          <a:p>
            <a:r>
              <a:rPr lang="en-US" sz="2400" dirty="0"/>
              <a:t>Are just for testbench</a:t>
            </a:r>
          </a:p>
          <a:p>
            <a:pPr lvl="1"/>
            <a:r>
              <a:rPr lang="en-US" dirty="0"/>
              <a:t>Emulate the launch and capture of IO of DUT</a:t>
            </a:r>
          </a:p>
          <a:p>
            <a:r>
              <a:rPr lang="en-US" sz="2400" dirty="0"/>
              <a:t>Create explicit synchronous timing domains</a:t>
            </a:r>
          </a:p>
          <a:p>
            <a:pPr lvl="1"/>
            <a:r>
              <a:rPr lang="en-US" dirty="0"/>
              <a:t>All signals driven or sampled at a clocking event (synchronous)</a:t>
            </a:r>
          </a:p>
          <a:p>
            <a:pPr lvl="1"/>
            <a:r>
              <a:rPr lang="en-US" dirty="0"/>
              <a:t>Interaction between testbench and DUT ideally happens only at clock edges</a:t>
            </a:r>
          </a:p>
          <a:p>
            <a:r>
              <a:rPr lang="en-US" sz="2400" dirty="0"/>
              <a:t>Specify synchronous signal direction</a:t>
            </a:r>
          </a:p>
          <a:p>
            <a:endParaRPr lang="en-US" sz="2400" dirty="0"/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0B8391-DB3E-E804-3F34-A37902FED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9F4FA8-4080-C661-6C76-7B90A4EB97C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F757DF-8EB0-7672-79A8-62DABF342F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0" y="1234885"/>
            <a:ext cx="4791847" cy="2221009"/>
          </a:xfrm>
          <a:prstGeom prst="rect">
            <a:avLst/>
          </a:prstGeom>
        </p:spPr>
      </p:pic>
      <p:pic>
        <p:nvPicPr>
          <p:cNvPr id="2" name="Picture 1" descr="Clocking Blocks | SpringerLink">
            <a:extLst>
              <a:ext uri="{FF2B5EF4-FFF2-40B4-BE49-F238E27FC236}">
                <a16:creationId xmlns:a16="http://schemas.microsoft.com/office/drawing/2014/main" id="{E81869B6-2D7E-0EC8-C0C8-FBE0CB607C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191" y="3905156"/>
            <a:ext cx="4442538" cy="220496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FFBFAE9-8D7A-8934-4E43-28B97786AE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4860828"/>
            <a:ext cx="3943350" cy="112014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782070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F43406-EC74-6CAF-9903-EF1AEB737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5FF5253-EDA4-4B90-A80D-F80D5E47A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al Access Direction: </a:t>
            </a:r>
            <a:r>
              <a:rPr lang="en-US" dirty="0" err="1">
                <a:latin typeface="Abadi Extra Light" panose="020B0204020104020204" pitchFamily="34" charset="0"/>
              </a:rPr>
              <a:t>modport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E769000-D84F-3420-5859-E2C16A9893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846776" cy="4906960"/>
          </a:xfrm>
        </p:spPr>
        <p:txBody>
          <a:bodyPr/>
          <a:lstStyle/>
          <a:p>
            <a:r>
              <a:rPr lang="en-US" dirty="0"/>
              <a:t>Enforce signal access and direction using </a:t>
            </a:r>
            <a:r>
              <a:rPr lang="en-US" dirty="0" err="1"/>
              <a:t>modport</a:t>
            </a:r>
            <a:endParaRPr lang="en-US" dirty="0"/>
          </a:p>
          <a:p>
            <a:r>
              <a:rPr lang="en-US" dirty="0" err="1"/>
              <a:t>Modports</a:t>
            </a:r>
            <a:r>
              <a:rPr lang="en-US" dirty="0"/>
              <a:t> are used for connecting the interface to the test program</a:t>
            </a:r>
          </a:p>
          <a:p>
            <a:r>
              <a:rPr lang="en-US" dirty="0"/>
              <a:t>In the argument list there should be:</a:t>
            </a:r>
          </a:p>
          <a:p>
            <a:pPr lvl="1"/>
            <a:r>
              <a:rPr lang="en-US" sz="1800" dirty="0"/>
              <a:t>References to the clocking block (if any)</a:t>
            </a:r>
          </a:p>
          <a:p>
            <a:pPr lvl="1"/>
            <a:r>
              <a:rPr lang="en-US" sz="1800" dirty="0"/>
              <a:t>All other asynchronous signals</a:t>
            </a:r>
          </a:p>
          <a:p>
            <a:endParaRPr lang="en-US" sz="2400" dirty="0"/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8232A0-FC18-9BCE-4CB9-1FF4035CD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558A3-9CB9-EF65-908A-87F9819FC4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809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26FD35-0478-4D4D-A47F-A1C9619F24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DCDEFE4-F0A2-BD44-6030-16585FC83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adi Extra Light" panose="020B0204020104020204" pitchFamily="34" charset="0"/>
              </a:rPr>
              <a:t>interface</a:t>
            </a:r>
            <a:r>
              <a:rPr lang="en-US" dirty="0"/>
              <a:t> + </a:t>
            </a:r>
            <a:r>
              <a:rPr lang="en-US" dirty="0" err="1">
                <a:latin typeface="Abadi Extra Light" panose="020B0204020104020204" pitchFamily="34" charset="0"/>
              </a:rPr>
              <a:t>modport</a:t>
            </a:r>
            <a:r>
              <a:rPr lang="en-US" dirty="0"/>
              <a:t> – Examp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E364A4E-B6A4-E869-B1D4-A2E2DE4132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thout using interfa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906CDD-1321-6F6F-BBDF-6D7F57CC28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2589E5-76BE-BF92-1861-68CD58B3D53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A3C5D5-612A-5EB2-E4A8-6066E4D3F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212" y="1600200"/>
            <a:ext cx="4426240" cy="40341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6FF13D-5E3F-BCF9-9C90-60C0D05DC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9915" y="2557271"/>
            <a:ext cx="3153309" cy="294360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A6AA47D-2668-8037-ECE3-EAD5E4067DD2}"/>
              </a:ext>
            </a:extLst>
          </p:cNvPr>
          <p:cNvSpPr/>
          <p:nvPr/>
        </p:nvSpPr>
        <p:spPr>
          <a:xfrm>
            <a:off x="6934200" y="1023978"/>
            <a:ext cx="1295400" cy="9358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461B70-C394-CFFE-74FC-B76DFD165B35}"/>
              </a:ext>
            </a:extLst>
          </p:cNvPr>
          <p:cNvSpPr/>
          <p:nvPr/>
        </p:nvSpPr>
        <p:spPr>
          <a:xfrm>
            <a:off x="9433112" y="1045318"/>
            <a:ext cx="1295400" cy="9358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67684D-EAA6-5679-9B77-001648A34B8A}"/>
              </a:ext>
            </a:extLst>
          </p:cNvPr>
          <p:cNvCxnSpPr>
            <a:cxnSpLocks/>
          </p:cNvCxnSpPr>
          <p:nvPr/>
        </p:nvCxnSpPr>
        <p:spPr>
          <a:xfrm>
            <a:off x="8229600" y="1502660"/>
            <a:ext cx="12035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0B1CFB6-6847-BE9E-72FA-E26A40AB3C7D}"/>
              </a:ext>
            </a:extLst>
          </p:cNvPr>
          <p:cNvSpPr txBox="1"/>
          <p:nvPr/>
        </p:nvSpPr>
        <p:spPr>
          <a:xfrm>
            <a:off x="7086600" y="1350260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err="1"/>
              <a:t>Memory_tb</a:t>
            </a:r>
            <a:endParaRPr lang="en-US" sz="11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31D41-9882-3F5A-6B74-0350863D63E4}"/>
              </a:ext>
            </a:extLst>
          </p:cNvPr>
          <p:cNvSpPr txBox="1"/>
          <p:nvPr/>
        </p:nvSpPr>
        <p:spPr>
          <a:xfrm>
            <a:off x="9685244" y="1350259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memory</a:t>
            </a:r>
          </a:p>
        </p:txBody>
      </p:sp>
    </p:spTree>
    <p:extLst>
      <p:ext uri="{BB962C8B-B14F-4D97-AF65-F5344CB8AC3E}">
        <p14:creationId xmlns:p14="http://schemas.microsoft.com/office/powerpoint/2010/main" val="5318181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BB14A-0BC4-EDAA-6B5F-429AB0A94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72D28C97-B8C8-4C5E-7EAD-7D14952A50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5189" y="2224193"/>
            <a:ext cx="3535611" cy="21780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E5344C0-2514-99DC-A3B7-3FAD0BDF6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adi Extra Light" panose="020B0204020104020204" pitchFamily="34" charset="0"/>
              </a:rPr>
              <a:t>interface</a:t>
            </a:r>
            <a:r>
              <a:rPr lang="en-US" dirty="0"/>
              <a:t> + </a:t>
            </a:r>
            <a:r>
              <a:rPr lang="en-US" dirty="0" err="1">
                <a:latin typeface="Abadi Extra Light" panose="020B0204020104020204" pitchFamily="34" charset="0"/>
              </a:rPr>
              <a:t>modport</a:t>
            </a:r>
            <a:r>
              <a:rPr lang="en-US" dirty="0"/>
              <a:t> – Exampl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A41A012-47FB-F6F5-DB8A-CFCCB759D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th interfa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E03E7A-B794-9478-51DC-1EE1189EF5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694B61-FD9A-9407-A60D-06F9CC8D42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B4F8377-39DF-86DB-468E-54FFC137E9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1476328"/>
            <a:ext cx="5129639" cy="27844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D9A7427-4254-2AF2-B508-F03E759EF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4508800"/>
            <a:ext cx="5701766" cy="21492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192690B-3267-C97E-0AAD-5BA72F49E343}"/>
              </a:ext>
            </a:extLst>
          </p:cNvPr>
          <p:cNvSpPr/>
          <p:nvPr/>
        </p:nvSpPr>
        <p:spPr>
          <a:xfrm>
            <a:off x="3505201" y="1876438"/>
            <a:ext cx="2157838" cy="429162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1015031-484B-3E6F-2137-46D87ED013AD}"/>
              </a:ext>
            </a:extLst>
          </p:cNvPr>
          <p:cNvSpPr/>
          <p:nvPr/>
        </p:nvSpPr>
        <p:spPr>
          <a:xfrm>
            <a:off x="1434566" y="4465703"/>
            <a:ext cx="1066800" cy="338723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40F1133-B9CD-1DB0-0DBA-E776D63C9B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1800" y="4464878"/>
            <a:ext cx="3019246" cy="19625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A41B2848-3F20-7E49-D49F-5274ECA9DA5C}"/>
              </a:ext>
            </a:extLst>
          </p:cNvPr>
          <p:cNvSpPr/>
          <p:nvPr/>
        </p:nvSpPr>
        <p:spPr>
          <a:xfrm>
            <a:off x="6477000" y="838200"/>
            <a:ext cx="4800600" cy="12940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DD87435-7D76-E2FE-6CCA-B4E641CFC1DA}"/>
              </a:ext>
            </a:extLst>
          </p:cNvPr>
          <p:cNvSpPr/>
          <p:nvPr/>
        </p:nvSpPr>
        <p:spPr>
          <a:xfrm>
            <a:off x="6934200" y="1023978"/>
            <a:ext cx="1295400" cy="9358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C549579-7686-790B-0B2F-97FF073BE95B}"/>
              </a:ext>
            </a:extLst>
          </p:cNvPr>
          <p:cNvSpPr/>
          <p:nvPr/>
        </p:nvSpPr>
        <p:spPr>
          <a:xfrm>
            <a:off x="9433112" y="1045318"/>
            <a:ext cx="1295400" cy="9358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A96F21A-CE2E-C05E-8FF2-A12F93F61C7A}"/>
              </a:ext>
            </a:extLst>
          </p:cNvPr>
          <p:cNvSpPr/>
          <p:nvPr/>
        </p:nvSpPr>
        <p:spPr>
          <a:xfrm>
            <a:off x="8291423" y="2213322"/>
            <a:ext cx="1752600" cy="389542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BC017E7-3DE0-200D-F8A2-99BA46E6C985}"/>
              </a:ext>
            </a:extLst>
          </p:cNvPr>
          <p:cNvCxnSpPr>
            <a:cxnSpLocks/>
          </p:cNvCxnSpPr>
          <p:nvPr/>
        </p:nvCxnSpPr>
        <p:spPr>
          <a:xfrm>
            <a:off x="8229600" y="1502660"/>
            <a:ext cx="12035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C67E9942-49C9-45F5-332C-941354C08FF5}"/>
              </a:ext>
            </a:extLst>
          </p:cNvPr>
          <p:cNvSpPr txBox="1"/>
          <p:nvPr/>
        </p:nvSpPr>
        <p:spPr>
          <a:xfrm>
            <a:off x="7086600" y="1350260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err="1"/>
              <a:t>Memory_tb</a:t>
            </a:r>
            <a:endParaRPr lang="en-US" sz="1100" b="1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549694D-9768-B3D6-AEAF-EEC338F656E8}"/>
              </a:ext>
            </a:extLst>
          </p:cNvPr>
          <p:cNvSpPr txBox="1"/>
          <p:nvPr/>
        </p:nvSpPr>
        <p:spPr>
          <a:xfrm>
            <a:off x="9685244" y="1350259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memor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DF2DEDB-4BC7-4964-9A58-34C26D28C09C}"/>
              </a:ext>
            </a:extLst>
          </p:cNvPr>
          <p:cNvSpPr txBox="1"/>
          <p:nvPr/>
        </p:nvSpPr>
        <p:spPr>
          <a:xfrm>
            <a:off x="8472207" y="1261369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interfa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989DAD-A9E0-00A3-2116-10721F487102}"/>
              </a:ext>
            </a:extLst>
          </p:cNvPr>
          <p:cNvSpPr txBox="1"/>
          <p:nvPr/>
        </p:nvSpPr>
        <p:spPr>
          <a:xfrm>
            <a:off x="6481483" y="805189"/>
            <a:ext cx="990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top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A165C93-DC91-87BA-629C-8C8276AC0E74}"/>
              </a:ext>
            </a:extLst>
          </p:cNvPr>
          <p:cNvSpPr/>
          <p:nvPr/>
        </p:nvSpPr>
        <p:spPr>
          <a:xfrm>
            <a:off x="627742" y="6015746"/>
            <a:ext cx="1353458" cy="465308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2249784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451BB-D686-C493-2878-CF1334E35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D599A9-8C27-9E3F-766D-EDC6036F8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plete </a:t>
            </a:r>
            <a:r>
              <a:rPr lang="en-US" dirty="0">
                <a:latin typeface="Abadi Extra Light" panose="020B0204020104020204" pitchFamily="34" charset="0"/>
              </a:rPr>
              <a:t>interface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A0395DB-268D-9A6D-206B-274B943736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486400" cy="4906960"/>
          </a:xfrm>
        </p:spPr>
        <p:txBody>
          <a:bodyPr/>
          <a:lstStyle/>
          <a:p>
            <a:r>
              <a:rPr lang="en-US" dirty="0"/>
              <a:t>Signals are declared in the interface body with no direction</a:t>
            </a:r>
          </a:p>
          <a:p>
            <a:r>
              <a:rPr lang="en-US" dirty="0"/>
              <a:t>Synchronous signals are defined inside the clocking block with their specified direction</a:t>
            </a:r>
          </a:p>
          <a:p>
            <a:r>
              <a:rPr lang="en-US" dirty="0"/>
              <a:t>A </a:t>
            </a:r>
            <a:r>
              <a:rPr lang="en-US" dirty="0" err="1"/>
              <a:t>Modport</a:t>
            </a:r>
            <a:r>
              <a:rPr lang="en-US" dirty="0"/>
              <a:t> is declared for connectivity and has the arguments for the clocking block and all other asynchronous signa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D3E434-AA25-8FED-BD01-22E491FCF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9400" y="740800"/>
            <a:ext cx="4336487" cy="548776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609452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81E9B-3533-2084-D160-1721686BE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2472CE-8905-21B8-F188-6815A1BA9F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E6E9AFE-1B51-6B13-3431-EC33F07BE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– Key features</a:t>
            </a:r>
            <a:br>
              <a:rPr lang="en-US" dirty="0"/>
            </a:br>
            <a:r>
              <a:rPr lang="en-US" dirty="0"/>
              <a:t>2) Program Blo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2A4D65-75E1-B882-40B4-CC34E8DB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3F3A5-B4F0-3548-32B5-F9CB6D994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155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3EC96-A4AD-EFED-8B46-580DA07CC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89C4A75-B189-E708-BFFA-E4677095D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latin typeface="Abadi Extra Light" panose="020B0204020104020204" pitchFamily="34" charset="0"/>
              </a:rPr>
              <a:t>program</a:t>
            </a:r>
            <a:r>
              <a:rPr lang="en-US" dirty="0"/>
              <a:t> Block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732880F-4B88-DD10-19EB-3416B850AE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439400" cy="1641534"/>
          </a:xfrm>
        </p:spPr>
        <p:txBody>
          <a:bodyPr/>
          <a:lstStyle/>
          <a:p>
            <a:r>
              <a:rPr lang="en-US" sz="2400" dirty="0"/>
              <a:t>The program block is where the testbench code is developed</a:t>
            </a:r>
          </a:p>
          <a:p>
            <a:r>
              <a:rPr lang="en-US" sz="2400" dirty="0"/>
              <a:t>It is an entry point to test execution</a:t>
            </a:r>
          </a:p>
          <a:p>
            <a:r>
              <a:rPr lang="en-US" sz="2400" dirty="0"/>
              <a:t>It facilitates a race-free interaction between the design and the testbench </a:t>
            </a:r>
          </a:p>
          <a:p>
            <a:endParaRPr lang="en-US" sz="2400" dirty="0"/>
          </a:p>
          <a:p>
            <a:pPr lvl="1"/>
            <a:endParaRPr lang="en-US" sz="1400" dirty="0"/>
          </a:p>
          <a:p>
            <a:pPr lvl="1"/>
            <a:endParaRPr lang="en-US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2F4B2E-128E-0434-1684-2A58CCCC2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3D0382-489B-194A-501D-8C0F198D8D7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5FB130B-2805-50A5-0DC5-4A39C501D16F}"/>
              </a:ext>
            </a:extLst>
          </p:cNvPr>
          <p:cNvGrpSpPr/>
          <p:nvPr/>
        </p:nvGrpSpPr>
        <p:grpSpPr>
          <a:xfrm>
            <a:off x="5943600" y="3076429"/>
            <a:ext cx="5237287" cy="3049736"/>
            <a:chOff x="6654281" y="2133600"/>
            <a:chExt cx="5237287" cy="304973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B24DD7B-F3CF-044C-FE06-D6652192F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81800" y="2464843"/>
              <a:ext cx="5109768" cy="2502803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D02D67-AE93-DC1C-28F3-15276E232CAE}"/>
                </a:ext>
              </a:extLst>
            </p:cNvPr>
            <p:cNvSpPr/>
            <p:nvPr/>
          </p:nvSpPr>
          <p:spPr>
            <a:xfrm>
              <a:off x="6654281" y="2133600"/>
              <a:ext cx="5187463" cy="304973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noFill/>
              </a:endParaRPr>
            </a:p>
          </p:txBody>
        </p:sp>
      </p:grpSp>
      <p:sp>
        <p:nvSpPr>
          <p:cNvPr id="12" name="Left Brace 11">
            <a:extLst>
              <a:ext uri="{FF2B5EF4-FFF2-40B4-BE49-F238E27FC236}">
                <a16:creationId xmlns:a16="http://schemas.microsoft.com/office/drawing/2014/main" id="{A07B6908-0ADC-BEA2-898E-612836255D60}"/>
              </a:ext>
            </a:extLst>
          </p:cNvPr>
          <p:cNvSpPr/>
          <p:nvPr/>
        </p:nvSpPr>
        <p:spPr>
          <a:xfrm rot="5400000">
            <a:off x="7691469" y="1558901"/>
            <a:ext cx="177102" cy="3520440"/>
          </a:xfrm>
          <a:prstGeom prst="leftBrac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167936-D874-C2FA-75D6-9610474EA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3230570"/>
            <a:ext cx="4196863" cy="26027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691220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32CB47-C51F-10CE-6203-9B3F83BD2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Packag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98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265F14-C0FD-49FB-9153-210CD501B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E4D4EF-EC6C-AFC4-5397-217CEB2C1B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>
                <a:latin typeface="Abadi Extra Light" panose="020B0204020104020204" pitchFamily="34" charset="0"/>
              </a:rPr>
              <a:t>program</a:t>
            </a:r>
            <a:r>
              <a:rPr lang="en-US" dirty="0"/>
              <a:t> Block – timing problem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AAA01B6-BE14-77FF-6E7B-D8249D601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439400" cy="4038596"/>
          </a:xfrm>
        </p:spPr>
        <p:txBody>
          <a:bodyPr/>
          <a:lstStyle/>
          <a:p>
            <a:r>
              <a:rPr lang="en-US" sz="2400" dirty="0"/>
              <a:t>Problems arise when design and testbench events happen in the same time slot</a:t>
            </a:r>
          </a:p>
          <a:p>
            <a:r>
              <a:rPr lang="en-US" sz="2400" dirty="0" err="1"/>
              <a:t>SystemVerilog</a:t>
            </a:r>
            <a:r>
              <a:rPr lang="en-US" sz="2400" dirty="0"/>
              <a:t> introduces a new time slot for testbench execution</a:t>
            </a:r>
          </a:p>
          <a:p>
            <a:r>
              <a:rPr lang="en-US" sz="2400" dirty="0"/>
              <a:t>Program blocks allow the testbench to execute in a separate time slot (reactive region)</a:t>
            </a:r>
          </a:p>
          <a:p>
            <a:r>
              <a:rPr lang="en-US" sz="2400" dirty="0"/>
              <a:t>It offers a structured approach to designing and verifying complex systems by effectively managing the execution flow of different elements within a program block.</a:t>
            </a:r>
          </a:p>
          <a:p>
            <a:endParaRPr lang="en-US" sz="2400" dirty="0"/>
          </a:p>
          <a:p>
            <a:pPr lvl="1"/>
            <a:endParaRPr lang="en-US" sz="1400" dirty="0"/>
          </a:p>
          <a:p>
            <a:pPr lvl="1"/>
            <a:endParaRPr lang="en-US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A0FB86-1228-7193-3D5F-800571258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CC0C41-1E49-FE17-CCAF-C8CD1B7C303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0019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5E6E6A-C881-6C82-DD10-D02E220BD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3551618-557E-9B0C-DF7D-1F15936F1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ing Reg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195279-005C-0C3B-3F18-D104A9B1D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5715000" cy="5240334"/>
          </a:xfrm>
        </p:spPr>
        <p:txBody>
          <a:bodyPr/>
          <a:lstStyle/>
          <a:p>
            <a:r>
              <a:rPr lang="en-US" sz="2400" dirty="0"/>
              <a:t>The execution flow during a time slot consists of four regions: </a:t>
            </a:r>
          </a:p>
          <a:p>
            <a:pPr lvl="1"/>
            <a:r>
              <a:rPr lang="en-US" sz="2000" b="1" u="sng" dirty="0"/>
              <a:t>Preponed region: </a:t>
            </a:r>
            <a:r>
              <a:rPr lang="en-US" sz="2000" dirty="0"/>
              <a:t>Samples signals before any changes</a:t>
            </a:r>
            <a:endParaRPr lang="en-US" sz="2000" b="1" u="sng" dirty="0"/>
          </a:p>
          <a:p>
            <a:pPr lvl="1"/>
            <a:r>
              <a:rPr lang="en-US" sz="2000" b="1" u="sng" dirty="0"/>
              <a:t>Active region: </a:t>
            </a:r>
            <a:r>
              <a:rPr lang="en-US" sz="2000" dirty="0"/>
              <a:t>It is responsible for running design events, including RTL and gate code, as well as the clock generator.</a:t>
            </a:r>
          </a:p>
          <a:p>
            <a:pPr lvl="1"/>
            <a:r>
              <a:rPr lang="en-US" sz="2000" b="1" u="sng" dirty="0"/>
              <a:t>Observed region: </a:t>
            </a:r>
            <a:r>
              <a:rPr lang="en-US" sz="2000" dirty="0"/>
              <a:t>This region allows for the verification of specific properties and conditions within the design. (Assertions)</a:t>
            </a:r>
          </a:p>
          <a:p>
            <a:pPr lvl="1"/>
            <a:r>
              <a:rPr lang="en-US" sz="2000" b="1" u="sng" dirty="0"/>
              <a:t>Reactive region: </a:t>
            </a:r>
            <a:r>
              <a:rPr lang="en-US" sz="2000" dirty="0"/>
              <a:t>The testbench interacts with the design (program).</a:t>
            </a:r>
          </a:p>
          <a:p>
            <a:pPr lvl="1"/>
            <a:r>
              <a:rPr lang="en-US" sz="2000" b="1" u="sng" dirty="0"/>
              <a:t>Postponed region: </a:t>
            </a:r>
            <a:r>
              <a:rPr lang="en-US" sz="2000" dirty="0"/>
              <a:t>Read-only phase ($monitor)</a:t>
            </a:r>
          </a:p>
          <a:p>
            <a:pPr lvl="1"/>
            <a:endParaRPr lang="en-US" sz="1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A9E0E8-F817-D076-4709-7652F767A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6DBE9F-D898-381F-085E-9D0F6BC72F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7B1C6D-B830-5877-40C8-29BDB01A35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34"/>
          <a:stretch/>
        </p:blipFill>
        <p:spPr>
          <a:xfrm>
            <a:off x="6934200" y="1194582"/>
            <a:ext cx="4604381" cy="479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4900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9B6383-ACD9-4B0B-5104-F854B7DF73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013F899-A76E-ABC3-7361-81A6016CA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vs Modu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7E61DF-CF67-5432-95F4-FADEFA4D4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3DD62A-4D56-8A5D-9FCD-64FF9A2F88A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9B28350-41DC-C17B-FFCA-9AC0333588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174872"/>
            <a:ext cx="10770815" cy="518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4853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D7F750-C0DD-F685-8BB2-1D40AF5CD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D973CFE-65E1-5525-9518-B023EAF2EE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02472CE-8905-21B8-F188-6815A1BA9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5841B3B-B7B0-0C80-2FFE-07620649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A Complete Example</a:t>
            </a:r>
            <a:br>
              <a:rPr lang="en-US" dirty="0"/>
            </a:br>
            <a:r>
              <a:rPr lang="en-US" dirty="0"/>
              <a:t>(Interface + Test Program + Top Level Harnes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CC9F87-FBDF-A7C7-FCBC-2FD0B9B02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7DE0DF-4D9A-C960-AB93-D1FAF7AA9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351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328786-629A-A517-D63F-2E3E3CD45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6D058CE-623F-EE79-C64F-82DFD4277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plete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B5FD6B-4945-7553-4D81-C1725B55D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FE3DED-7ED3-7570-354B-079811017EF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39F0F-0F52-E52D-0C94-8B3EB80049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09089"/>
            <a:ext cx="4336487" cy="548776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8D95C4-C6AD-3621-9C49-1C5018BA04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3659" y="1503306"/>
            <a:ext cx="4778406" cy="433043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467786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219C6-5533-24CB-E24E-197FB1093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FD3F074-17CB-47D6-513C-4310B79B9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plete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DF052E-0E02-8785-5E31-4BBC67E45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6E1C1F-6201-F11F-4071-4B5C94439B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3EA4E2-0A24-E730-3197-190D4A1D3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2130335"/>
            <a:ext cx="2971800" cy="351031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1DA957-351E-5E79-9DE3-B8F4A97935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1656055"/>
            <a:ext cx="5257800" cy="446088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147059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23F27-EB14-343D-FC31-CB01A0D27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CDF3EE-AEFB-4248-19D8-08AF0F3BEF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32CB47-C51F-10CE-6203-9B3F83BD2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B557174-CBB4-2A0F-CFF5-EDF12C24F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Tas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C98117-DFD2-6395-0B8D-505DE9BC0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16794E-9000-ECF6-66AA-7E7585EB0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679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580EBED-A81A-E397-AFFE-ED1D182D2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ask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1FF5503-0223-4BB6-CD06-B09C04CF1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2590795"/>
          </a:xfrm>
        </p:spPr>
        <p:txBody>
          <a:bodyPr/>
          <a:lstStyle/>
          <a:p>
            <a:r>
              <a:rPr lang="en-US" sz="2000" dirty="0"/>
              <a:t>Develop a </a:t>
            </a:r>
            <a:r>
              <a:rPr lang="en-US" sz="2000" dirty="0" err="1"/>
              <a:t>SystemVerilog</a:t>
            </a:r>
            <a:r>
              <a:rPr lang="en-US" sz="2000" dirty="0"/>
              <a:t> test program to test the DUT (</a:t>
            </a:r>
            <a:r>
              <a:rPr lang="en-US" sz="2000" dirty="0" err="1"/>
              <a:t>arbiter.v</a:t>
            </a:r>
            <a:r>
              <a:rPr lang="en-US" sz="2000" dirty="0"/>
              <a:t>).</a:t>
            </a:r>
          </a:p>
          <a:p>
            <a:r>
              <a:rPr lang="en-US" sz="2000" dirty="0"/>
              <a:t>1)	Develop </a:t>
            </a:r>
            <a:r>
              <a:rPr lang="en-US" sz="2000" dirty="0" err="1"/>
              <a:t>SystemVerilog</a:t>
            </a:r>
            <a:r>
              <a:rPr lang="en-US" sz="2000" dirty="0"/>
              <a:t> testbench files </a:t>
            </a:r>
          </a:p>
          <a:p>
            <a:r>
              <a:rPr lang="en-US" sz="2000" dirty="0"/>
              <a:t>2)	Compile and simulate with VCS</a:t>
            </a:r>
          </a:p>
          <a:p>
            <a:r>
              <a:rPr lang="en-US" sz="2000" dirty="0"/>
              <a:t>3)	Verify Simulation results using DVE</a:t>
            </a:r>
          </a:p>
          <a:p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794932-8F6E-6889-9904-41987267E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6D2122-C410-2E8E-78C8-109DC8A3865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8" name="Picture 7" descr="A black and white graphic with text&#10;&#10;Description automatically generated">
            <a:extLst>
              <a:ext uri="{FF2B5EF4-FFF2-40B4-BE49-F238E27FC236}">
                <a16:creationId xmlns:a16="http://schemas.microsoft.com/office/drawing/2014/main" id="{9CE3FFD9-475F-7C7C-3FAD-3B44643B3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4017169"/>
            <a:ext cx="4975443" cy="1621626"/>
          </a:xfrm>
          <a:prstGeom prst="rect">
            <a:avLst/>
          </a:prstGeom>
        </p:spPr>
      </p:pic>
      <p:pic>
        <p:nvPicPr>
          <p:cNvPr id="9" name="Picture 8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A25F90A0-0CA0-F722-4425-6EE93583D7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10"/>
          <a:stretch/>
        </p:blipFill>
        <p:spPr bwMode="auto">
          <a:xfrm>
            <a:off x="6248400" y="2639536"/>
            <a:ext cx="4994706" cy="3456464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058162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D42C2F-2EF5-B493-A409-F54D55A037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3772729-7F21-56CD-7436-E75AFB00D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ask: Step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EE999F3-97CB-12FA-A6BC-7247D875F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116508"/>
          </a:xfrm>
        </p:spPr>
        <p:txBody>
          <a:bodyPr/>
          <a:lstStyle/>
          <a:p>
            <a:pPr marL="342900" marR="0" lvl="0" indent="-34290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the given DUT create an interface to connect the test program to the router (</a:t>
            </a: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biter_io.sv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lare a 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ocking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 and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port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needed.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tional: add specifications for input and output skews.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rite the test program (</a:t>
            </a: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.sv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e arguments that connect to the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port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the interface block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t a message to the screen inside the initial block, ex: “Hello World!”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nect everything in a harness file and include a simple clock generator (</a:t>
            </a: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biter_test_top.sv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ile all files with the following command (using VCS):</a:t>
            </a: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cs</a:t>
            </a:r>
            <a:r>
              <a:rPr lang="en-US" sz="1600" dirty="0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</a:t>
            </a:r>
            <a:r>
              <a:rPr lang="en-US" sz="1600" dirty="0" err="1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verilog</a:t>
            </a:r>
            <a:r>
              <a:rPr lang="en-US" sz="1600" dirty="0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rbiter_test_top.sv test.sv arbiter_io.sv </a:t>
            </a:r>
            <a:r>
              <a:rPr lang="en-US" sz="1600" dirty="0" err="1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biter.v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CS will compile the files and create an executable file called </a:t>
            </a:r>
            <a:r>
              <a:rPr lang="en-US" sz="16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mv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5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mulate by executing the binary created by VCS</a:t>
            </a: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/</a:t>
            </a:r>
            <a:r>
              <a:rPr lang="en-US" sz="1600" dirty="0" err="1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mv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6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ck to see if the $display message appears.</a:t>
            </a:r>
          </a:p>
          <a:p>
            <a:endParaRPr lang="en-US" sz="4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415A0C-0F14-02C2-157B-962327874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AF29C-78DE-65AD-7F9B-BD3CD5AF4F3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7598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A80D1D-51C4-6C1B-8551-C0CCE9866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8321BC4-B5B5-34A4-B7CE-547D7C3131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CDF3EE-AEFB-4248-19D8-08AF0F3BEF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D4F8461-C8C2-31DB-6B64-BD1FAC5ED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Assign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4C44FD-B9B4-30E8-CD0F-F028338E7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660903-83FB-C4D7-52C0-68D9E0C8E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052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- Packag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266755-2149-53CD-7CCA-C6302C07A2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847388" cy="4906960"/>
          </a:xfrm>
        </p:spPr>
        <p:txBody>
          <a:bodyPr/>
          <a:lstStyle/>
          <a:p>
            <a:r>
              <a:rPr lang="en-US" dirty="0"/>
              <a:t>Packages provide a systematic mechanism for sharing parameters, data, function, tasks, types, property to other interfaces, programs, or modules.</a:t>
            </a:r>
          </a:p>
          <a:p>
            <a:r>
              <a:rPr lang="en-US" dirty="0"/>
              <a:t>A package can be made accessible within the interface, program, module, and other packages using an import keyword followed by scope resolution operator:: and what has to be imported. An import mechanism provides controlled access based on what is imported</a:t>
            </a:r>
          </a:p>
          <a:p>
            <a:r>
              <a:rPr lang="en-US" dirty="0"/>
              <a:t>Items in the package cannot have hierarchical references. </a:t>
            </a:r>
          </a:p>
          <a:p>
            <a:r>
              <a:rPr lang="en-US" dirty="0"/>
              <a:t>They are explicitly named scopes appearing at the same level as top-level modules or primitives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2449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751569-9A94-0411-65D7-7C2E11828E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5AE591E-2A7A-F0EF-47DC-43F14D5E6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Assignment: Step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9915B76-71FC-AF51-14FF-4EE852A78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116508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dit your test program (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.sv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to include the following: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et the DUT</a:t>
            </a:r>
          </a:p>
          <a:p>
            <a:pPr marL="742950" marR="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rive the arbiter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un the simulation using DVE</a:t>
            </a: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 err="1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ve</a:t>
            </a:r>
            <a:r>
              <a:rPr lang="en-US" sz="1800" dirty="0">
                <a:solidFill>
                  <a:srgbClr val="4F81B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&amp;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marR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le -&gt; open database -&gt;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.vcd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5760" marR="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 startAt="3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generate the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c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ile add the following in (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biter_test_top.sv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: </a:t>
            </a:r>
          </a:p>
          <a:p>
            <a:pPr marL="22860" marR="0" indent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initial begin</a:t>
            </a:r>
          </a:p>
          <a:p>
            <a:pPr marL="201168" marR="0" indent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$</a:t>
            </a:r>
            <a:r>
              <a:rPr lang="en-US" sz="1800" dirty="0" err="1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mpfile</a:t>
            </a: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en-US" sz="1800" dirty="0" err="1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.vcd</a:t>
            </a: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;</a:t>
            </a:r>
          </a:p>
          <a:p>
            <a:pPr marL="201168" marR="0" indent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$</a:t>
            </a:r>
            <a:r>
              <a:rPr lang="en-US" sz="1800" dirty="0" err="1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mpvars</a:t>
            </a: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201168" marR="0" indent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effectLst/>
                <a:latin typeface="Abadi Extra Light" panose="020B0204020104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end</a:t>
            </a:r>
          </a:p>
          <a:p>
            <a:endParaRPr lang="en-US" sz="8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78769-9217-4497-4B2B-92E0EA071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7E2C2-AF43-AC73-B298-4D56BA810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583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11E3CE-5E97-DA55-B654-7597C1D85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36B19D0-C692-A110-5116-C05642BDE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– Packages – Example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7B8EE4-6B35-3D27-9CB5-AE3A6AC3D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949580-F07B-D903-FE3F-19589E65A20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610453-2EDB-D7D0-09E0-E2FD0258D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1802" y="2286000"/>
            <a:ext cx="2663190" cy="48831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540A37-40C1-FBDF-6167-E2654D62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179173"/>
            <a:ext cx="4495800" cy="518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113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B81686-7F55-EA85-5966-D7492EA106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8FC494F-3B78-5E9B-A7C1-0A80A2F5A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– Packages – Example 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9A9333-7D8D-7CDF-DA6C-D1D015D4C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E38C7-AAE8-F80E-AAE5-5EBC3DB5C0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FA82B1-DFD0-2309-35AC-186E4E817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600" y="3200400"/>
            <a:ext cx="2266950" cy="6762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280D1E-1C32-F72F-3A8B-F888C37C6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484" y="1380807"/>
            <a:ext cx="4862696" cy="479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645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403FD1-05DA-065D-9841-4AF2E9EB2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66D2D1-89F0-078D-B75F-AB5F5DDCA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– Packages – Example 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631FA9-A506-0CE2-1568-33110AA5E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421AC3-1343-988E-77D2-6D03B11D138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35E74-A9BE-38D1-F6AB-C2BE538E6B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95400"/>
            <a:ext cx="5525084" cy="4419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45A9955-2EDD-2E66-ADF8-2E96982D7B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800" y="3282156"/>
            <a:ext cx="4343400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739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3BCCA-698F-794B-FED2-1B30A4131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14CDDB-91F2-F7E1-F71C-02B2E52E68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178DEB1-D27B-28B2-0BC7-4D0B5CBB0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– Key feature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7FEFF7-1D4B-8EC1-2029-E1D8663E0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C50004-4C1D-12C3-DB47-0F7EB2ADB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7238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7B12B1F-3054-CE57-B3D7-1174ED08D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– Key Featur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E3ECA54-D03D-0C84-10AD-8BDAF393CE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ystem Verilog introduces two new design units</a:t>
            </a:r>
          </a:p>
          <a:p>
            <a:pPr lvl="1"/>
            <a:r>
              <a:rPr lang="en-US" sz="2800" dirty="0"/>
              <a:t>The </a:t>
            </a:r>
            <a:r>
              <a:rPr lang="en-US" sz="2800" dirty="0">
                <a:solidFill>
                  <a:schemeClr val="bg2"/>
                </a:solidFill>
                <a:latin typeface="Abadi Extra Light" panose="020B0204020104020204" pitchFamily="34" charset="0"/>
              </a:rPr>
              <a:t>program</a:t>
            </a:r>
            <a:r>
              <a:rPr lang="en-US" sz="2800" dirty="0"/>
              <a:t> block</a:t>
            </a:r>
          </a:p>
          <a:p>
            <a:pPr lvl="1"/>
            <a:r>
              <a:rPr lang="en-US" sz="2800" dirty="0"/>
              <a:t>The </a:t>
            </a:r>
            <a:r>
              <a:rPr lang="en-US" sz="2800" dirty="0">
                <a:solidFill>
                  <a:schemeClr val="bg2"/>
                </a:solidFill>
                <a:latin typeface="Abadi Extra Light" panose="020B0204020104020204" pitchFamily="34" charset="0"/>
              </a:rPr>
              <a:t>interface</a:t>
            </a:r>
            <a:r>
              <a:rPr lang="en-US" sz="2800" dirty="0"/>
              <a:t> construc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706F07-A4E6-6AED-61FF-DDE3FF772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907755-AA09-37E1-4F2E-31CFF017BAB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2AA0244-672E-9D09-F41F-F3CC28E9B246}"/>
              </a:ext>
            </a:extLst>
          </p:cNvPr>
          <p:cNvGrpSpPr/>
          <p:nvPr/>
        </p:nvGrpSpPr>
        <p:grpSpPr>
          <a:xfrm>
            <a:off x="5486400" y="2589059"/>
            <a:ext cx="5237287" cy="3049736"/>
            <a:chOff x="6654281" y="2133600"/>
            <a:chExt cx="5237287" cy="304973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F5F6C7B-54A3-5BEB-5E25-549C31739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81800" y="2464843"/>
              <a:ext cx="5109768" cy="250280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561E8A4-D48D-32BB-2D34-AA6E6F1B5F91}"/>
                </a:ext>
              </a:extLst>
            </p:cNvPr>
            <p:cNvSpPr/>
            <p:nvPr/>
          </p:nvSpPr>
          <p:spPr>
            <a:xfrm>
              <a:off x="6654281" y="2133600"/>
              <a:ext cx="5187463" cy="304973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noFill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9F334767-02DE-B870-447F-C2E3501F602D}"/>
              </a:ext>
            </a:extLst>
          </p:cNvPr>
          <p:cNvSpPr/>
          <p:nvPr/>
        </p:nvSpPr>
        <p:spPr>
          <a:xfrm>
            <a:off x="9034684" y="3096341"/>
            <a:ext cx="838200" cy="2326764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F1BF9C50-CAE7-2E0B-E874-CD9435D20920}"/>
              </a:ext>
            </a:extLst>
          </p:cNvPr>
          <p:cNvSpPr/>
          <p:nvPr/>
        </p:nvSpPr>
        <p:spPr>
          <a:xfrm rot="5400000">
            <a:off x="7185913" y="1069790"/>
            <a:ext cx="177102" cy="3520440"/>
          </a:xfrm>
          <a:prstGeom prst="leftBrac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887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– Key features</a:t>
            </a:r>
            <a:br>
              <a:rPr lang="en-US" dirty="0"/>
            </a:br>
            <a:r>
              <a:rPr lang="en-US" dirty="0"/>
              <a:t>1) The Interface Construct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2B844-A1C0-612F-3173-4F57B691C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65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6672</TotalTime>
  <Words>1201</Words>
  <Application>Microsoft Office PowerPoint</Application>
  <PresentationFormat>Widescreen</PresentationFormat>
  <Paragraphs>171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badi Extra Light</vt:lpstr>
      <vt:lpstr>Arial</vt:lpstr>
      <vt:lpstr>Calibri</vt:lpstr>
      <vt:lpstr>Times New Roman</vt:lpstr>
      <vt:lpstr>Wingdings</vt:lpstr>
      <vt:lpstr>508 Lecture</vt:lpstr>
      <vt:lpstr>think-cell Slide</vt:lpstr>
      <vt:lpstr>CND212: Digital Testing and Verification</vt:lpstr>
      <vt:lpstr>Packages</vt:lpstr>
      <vt:lpstr>SystemVerilog - Packages</vt:lpstr>
      <vt:lpstr>SystemVerilog – Packages – Example1</vt:lpstr>
      <vt:lpstr>SystemVerilog – Packages – Example 2</vt:lpstr>
      <vt:lpstr>SystemVerilog – Packages – Example 3</vt:lpstr>
      <vt:lpstr>SystemVerilog – Key features </vt:lpstr>
      <vt:lpstr>SystemVerilog – Key Features</vt:lpstr>
      <vt:lpstr>SystemVerilog – Key features 1) The Interface Construct </vt:lpstr>
      <vt:lpstr>The interface Construct</vt:lpstr>
      <vt:lpstr>The interface Construct</vt:lpstr>
      <vt:lpstr>The interface Construct – Example</vt:lpstr>
      <vt:lpstr>Synchronous Timing: clocking Blocks</vt:lpstr>
      <vt:lpstr>Signal Access Direction: modport</vt:lpstr>
      <vt:lpstr>interface + modport – Example</vt:lpstr>
      <vt:lpstr>interface + modport – Example</vt:lpstr>
      <vt:lpstr>A Complete interface</vt:lpstr>
      <vt:lpstr>SystemVerilog – Key features 2) Program Block</vt:lpstr>
      <vt:lpstr>The program Block</vt:lpstr>
      <vt:lpstr>The program Block – timing problems</vt:lpstr>
      <vt:lpstr>Timing Regions</vt:lpstr>
      <vt:lpstr>Program vs Module</vt:lpstr>
      <vt:lpstr>A Complete Example (Interface + Test Program + Top Level Harness)</vt:lpstr>
      <vt:lpstr>A Complete Example</vt:lpstr>
      <vt:lpstr>A Complete Example</vt:lpstr>
      <vt:lpstr>Lab Task</vt:lpstr>
      <vt:lpstr>Lab Task</vt:lpstr>
      <vt:lpstr>Lab Task: Steps</vt:lpstr>
      <vt:lpstr>Lab Assignment</vt:lpstr>
      <vt:lpstr>Lab Assignment: Steps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69</cp:revision>
  <dcterms:created xsi:type="dcterms:W3CDTF">2014-07-14T20:04:21Z</dcterms:created>
  <dcterms:modified xsi:type="dcterms:W3CDTF">2024-03-07T15:09:07Z</dcterms:modified>
</cp:coreProperties>
</file>